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 err="1">
                  <a:solidFill>
                    <a:srgbClr val="FFFFFF"/>
                  </a:solidFill>
                  <a:latin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FZZhunYuan-M02S"/>
                  <a:cs typeface="FZZhunYuan-M02S"/>
                </a:rPr>
                <a:t>描述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>
                <a:latin typeface="FZZhunYuan-M02S"/>
                <a:cs typeface="FZZhunYuan-M02S"/>
              </a:rPr>
              <a:t>提高制瓶工艺的灵活性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124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石英棒</a:t>
            </a:r>
            <a:endParaRPr lang="zh-CN" altLang="fr-FR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1EC1A01-28A6-4ACE-947A-D14FC4E7AE9F}"/>
              </a:ext>
            </a:extLst>
          </p:cNvPr>
          <p:cNvSpPr txBox="1">
            <a:spLocks/>
          </p:cNvSpPr>
          <p:nvPr/>
        </p:nvSpPr>
        <p:spPr>
          <a:xfrm>
            <a:off x="647700" y="5867685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S2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533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FZZhunYuan-M02S"/>
            </a:endParaRP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94C28EAF-E30A-4958-8E5C-BDFDCDA8D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7263" y="2225690"/>
            <a:ext cx="3873500" cy="12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45000"/>
              </a:spcBef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nstallation of a quartz bar between the heating lamp and the preform, in order to concentrate / focus the IR radiation.</a:t>
            </a:r>
            <a:endParaRPr lang="en-US" sz="1200" dirty="0">
              <a:solidFill>
                <a:srgbClr val="000000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EA4009-C7DC-483D-A8F3-33780964E5C6}"/>
              </a:ext>
            </a:extLst>
          </p:cNvPr>
          <p:cNvSpPr/>
          <p:nvPr/>
        </p:nvSpPr>
        <p:spPr>
          <a:xfrm>
            <a:off x="642938" y="2233613"/>
            <a:ext cx="396240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tribute to solve heating problems, especially on the preform under neck area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nly for the first zone. 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ommended to secure </a:t>
            </a:r>
            <a:r>
              <a:rPr lang="en-US" sz="1200" b="1" dirty="0" err="1"/>
              <a:t>rPET</a:t>
            </a:r>
            <a:r>
              <a:rPr lang="en-US" sz="1200" b="1" dirty="0"/>
              <a:t> bottle production</a:t>
            </a:r>
            <a:r>
              <a:rPr lang="en-US" sz="1200" dirty="0"/>
              <a:t> for:</a:t>
            </a:r>
          </a:p>
          <a:p>
            <a:r>
              <a:rPr lang="en-US" sz="1200" dirty="0"/>
              <a:t>       a. neck protection</a:t>
            </a:r>
          </a:p>
          <a:p>
            <a:r>
              <a:rPr lang="en-US" sz="1200" dirty="0"/>
              <a:t>       b. process robustness</a:t>
            </a:r>
          </a:p>
          <a:p>
            <a:r>
              <a:rPr lang="en-US" sz="1200" dirty="0"/>
              <a:t>       c. ensure optimal material distribution</a:t>
            </a: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43D71727-EC53-4EC4-9272-88B5B6C9EF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21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2</TotalTime>
  <Words>74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提高制瓶工艺的灵活性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3</cp:revision>
  <dcterms:created xsi:type="dcterms:W3CDTF">2018-02-10T17:04:39Z</dcterms:created>
  <dcterms:modified xsi:type="dcterms:W3CDTF">2021-02-12T15:3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